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8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</c:v>
                </c:pt>
                <c:pt idx="3">
                  <c:v>4.5</c:v>
                </c:pt>
                <c:pt idx="4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64C-427A-B3EB-5418D1035D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224304"/>
        <c:axId val="444227664"/>
      </c:lineChart>
      <c:catAx>
        <c:axId val="44422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  <c:max val="8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05BBCC-DF77-6E63-5771-94D6B15CC2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DF6126-9572-AF70-A469-F1FE952170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DF6126-9572-AF70-A469-F1FE95217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8554E655-27CC-1535-E23D-BAB2F47F4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oughnut / Line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AD2EBA7-87D2-5CD5-B25F-6EB5D2A55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097E54E-97B8-1F9C-5E5C-DF3BF548B5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B81F43F-6257-B988-3004-22FB912A6A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D0DA4F3-4450-15FD-02E0-A8123A6DF5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8373ED14-2457-3D32-E30A-977CA896CBA7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Placeholder 12">
            <a:extLst>
              <a:ext uri="{FF2B5EF4-FFF2-40B4-BE49-F238E27FC236}">
                <a16:creationId xmlns:a16="http://schemas.microsoft.com/office/drawing/2014/main" id="{DCD6A524-8BAA-7414-24F5-3B97CCBE8FC2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73412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Doughnut / Line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61</cp:revision>
  <dcterms:created xsi:type="dcterms:W3CDTF">2025-07-09T10:57:17Z</dcterms:created>
  <dcterms:modified xsi:type="dcterms:W3CDTF">2025-10-22T10:09:09Z</dcterms:modified>
  <cp:category/>
</cp:coreProperties>
</file>